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8" r:id="rId2"/>
  </p:sldMasterIdLst>
  <p:notesMasterIdLst>
    <p:notesMasterId r:id="rId5"/>
  </p:notesMasterIdLst>
  <p:sldIdLst>
    <p:sldId id="2007579601" r:id="rId3"/>
    <p:sldId id="2007579580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241"/>
    <a:srgbClr val="EF5D5E"/>
    <a:srgbClr val="000000"/>
    <a:srgbClr val="1C9CD9"/>
    <a:srgbClr val="7CD6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12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D6DFFA-9ADE-460E-A492-F17F9233DB8C}" type="datetimeFigureOut">
              <a:rPr lang="en-US" smtClean="0"/>
              <a:t>8/1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9A88CB-DC9F-4CEE-BB5D-2C0861C30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133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m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F18B1D-69DD-4A66-B35B-F9AA884E6455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m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0554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m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F18B1D-69DD-4A66-B35B-F9AA884E6455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m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3453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20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jpeg"/><Relationship Id="rId4" Type="http://schemas.openxmlformats.org/officeDocument/2006/relationships/image" Target="../media/image20.sv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3308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7" name="Picture 6" descr="A_symbol_wordm_below_w_rgb-01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296" y="182881"/>
            <a:ext cx="1584960" cy="1736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180036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99CFD-CDCA-48DE-AE7F-C963C2F7C237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96560184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805B4-B027-49F8-8B7C-3A5585794237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34946062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4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rgbClr val="7030A0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EB05A-54F4-4A54-AB1C-9D9150173D85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607540988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EF768-C985-4719-9833-D6E4625A498C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106807059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65A23-1D2B-4E30-BCB8-2E380B614E4F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4037500685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F37A4-D1BA-48CE-B1AE-27E69AB50A63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0560" y="1463040"/>
            <a:ext cx="1097280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latin typeface="+mj-lt"/>
              </a:defRPr>
            </a:lvl2pPr>
          </a:lstStyle>
          <a:p>
            <a:pPr lvl="0"/>
            <a:r>
              <a:rPr lang="en-US" dirty="0"/>
              <a:t>CLICK TO EDIT CHART TITLE</a:t>
            </a:r>
          </a:p>
          <a:p>
            <a:pPr lvl="1"/>
            <a:r>
              <a:rPr lang="en-US" dirty="0"/>
              <a:t>Second 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0560" y="2286000"/>
            <a:ext cx="10972800" cy="3657600"/>
          </a:xfrm>
        </p:spPr>
        <p:txBody>
          <a:bodyPr rIns="0" anchor="ctr" anchorCtr="1"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70560" y="6035040"/>
            <a:ext cx="10972800" cy="170816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200"/>
              </a:spcBef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806615953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wrap="square"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65E8D-D692-4819-B6C3-5CC536FADB03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427728666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3">
    <p:bg bwMode="auto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F38DA2-75D6-4D32-A678-969C51339208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09601" y="640080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863924997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4">
    <p:bg bwMode="auto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385C189-5782-40B4-ACB7-E9CCCAF58A40}" type="datetime1">
              <a:rPr lang="en-US" smtClean="0"/>
              <a:t>8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tx2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59101680"/>
      </p:ext>
    </p:extLst>
  </p:cSld>
  <p:clrMapOvr>
    <a:masterClrMapping/>
  </p:clrMapOvr>
  <p:transition spd="slow">
    <p:push dir="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Solid Background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0F597A-5D49-48E9-98EF-BF11D3B4BCB6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28800" y="2011680"/>
            <a:ext cx="9144000" cy="3566160"/>
          </a:xfrm>
        </p:spPr>
        <p:txBody>
          <a:bodyPr/>
          <a:lstStyle>
            <a:lvl1pPr algn="l">
              <a:lnSpc>
                <a:spcPct val="90000"/>
              </a:lnSpc>
              <a:defRPr sz="2800" b="0">
                <a:solidFill>
                  <a:schemeClr val="bg1"/>
                </a:solidFill>
                <a:latin typeface="+mn-lt"/>
              </a:defRPr>
            </a:lvl1pPr>
            <a:lvl2pPr marL="1371600" indent="-228600" algn="l">
              <a:spcBef>
                <a:spcPts val="1800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/>
              <a:t>Click to edit quote text</a:t>
            </a:r>
          </a:p>
          <a:p>
            <a:pPr lvl="1"/>
            <a:r>
              <a:rPr lang="en-US" dirty="0"/>
              <a:t>Second level for attribution</a:t>
            </a: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01401782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3308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492" y="152402"/>
            <a:ext cx="1828800" cy="149569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67" y="87568"/>
            <a:ext cx="1781155" cy="193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663404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257" y="1608463"/>
            <a:ext cx="3345492" cy="3641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900943"/>
      </p:ext>
    </p:extLst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59" y="1454151"/>
            <a:ext cx="10972800" cy="4754880"/>
          </a:xfrm>
        </p:spPr>
        <p:txBody>
          <a:bodyPr/>
          <a:lstStyle>
            <a:lvl1pPr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188457-8B39-4B81-AE2C-7571FF3FC4B9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571039777"/>
      </p:ext>
    </p:extLst>
  </p:cSld>
  <p:clrMapOvr>
    <a:masterClrMapping/>
  </p:clrMapOvr>
  <p:transition spd="slow">
    <p:push dir="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Long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463040"/>
            <a:ext cx="8900160" cy="4754880"/>
          </a:xfrm>
        </p:spPr>
        <p:txBody>
          <a:bodyPr/>
          <a:lstStyle>
            <a:lvl1pPr>
              <a:spcBef>
                <a:spcPts val="600"/>
              </a:spcBef>
              <a:defRPr sz="1800" b="0"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DFCBBD-20CB-47A0-8198-79E837DCA651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969609172"/>
      </p:ext>
    </p:extLst>
  </p:cSld>
  <p:clrMapOvr>
    <a:masterClrMapping/>
  </p:clrMapOvr>
  <p:transition spd="slow">
    <p:push dir="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754880"/>
          </a:xfrm>
        </p:spPr>
        <p:txBody>
          <a:bodyPr/>
          <a:lstStyle>
            <a:lvl1pPr>
              <a:spcBef>
                <a:spcPts val="600"/>
              </a:spcBef>
              <a:defRPr sz="18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1463040"/>
            <a:ext cx="5303520" cy="475488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A24EA5-3C12-43A5-9C11-14021E8C1935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710908649"/>
      </p:ext>
    </p:extLst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+ Header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0560" y="2743200"/>
            <a:ext cx="5303520" cy="347472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9840" y="2743200"/>
            <a:ext cx="5303520" cy="347472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A232D4-5F96-4CFA-9E06-6E735808F80C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0560" y="1463040"/>
            <a:ext cx="10972800" cy="109728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214970193"/>
      </p:ext>
    </p:extLst>
  </p:cSld>
  <p:clrMapOvr>
    <a:masterClrMapping/>
  </p:clrMapOvr>
  <p:transition spd="slow">
    <p:push dir="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3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0A3F4FDD-022C-488C-9C1B-EE6D0EFBF496}" type="datetime1">
              <a:rPr lang="en-US" smtClean="0"/>
              <a:t>8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0219787"/>
      </p:ext>
    </p:extLst>
  </p:cSld>
  <p:clrMapOvr>
    <a:masterClrMapping/>
  </p:clrMapOvr>
  <p:transition spd="slow">
    <p:push dir="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5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BCC5B6-50EE-4270-B364-80A5AB7023EC}" type="datetime1">
              <a:rPr lang="en-US" smtClean="0"/>
              <a:t>8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707484117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0E663B-CCE4-4CDC-9EE4-528137349697}" type="datetime1">
              <a:rPr lang="en-US" smtClean="0"/>
              <a:t>8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810375457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4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6ED0B8-6BF9-4A13-ADA3-740054F609B4}" type="datetime1">
              <a:rPr lang="en-US" smtClean="0"/>
              <a:t>8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867347570"/>
      </p:ext>
    </p:extLst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B4DD36-F3E4-493F-BA20-3B3FA5147357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832087977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lternat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8" name="Picture 7" descr="A_symbol_wordm_below_w_rgb-01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4976" y="4953002"/>
            <a:ext cx="1587403" cy="17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814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7A4205-F18B-4A74-90BE-152336C4E5B2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010163991"/>
      </p:ext>
    </p:extLst>
  </p:cSld>
  <p:clrMapOvr>
    <a:masterClrMapping/>
  </p:clrMapOvr>
  <p:transition spd="slow">
    <p:push dir="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Chart + Header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AC1856-7856-4C8B-8D7D-F7474C643A67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4957" y="1463040"/>
            <a:ext cx="10972800" cy="731520"/>
          </a:xfrm>
        </p:spPr>
        <p:txBody>
          <a:bodyPr/>
          <a:lstStyle>
            <a:lvl1pPr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CHART TITLE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4957" y="2286000"/>
            <a:ext cx="10972800" cy="3657600"/>
          </a:xfrm>
        </p:spPr>
        <p:txBody>
          <a:bodyPr rIns="0" anchor="ctr" anchorCtr="1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70560" y="6035040"/>
            <a:ext cx="10972800" cy="184666"/>
          </a:xfrm>
        </p:spPr>
        <p:txBody>
          <a:bodyPr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51033349"/>
      </p:ext>
    </p:extLst>
  </p:cSld>
  <p:clrMapOvr>
    <a:masterClrMapping/>
  </p:clrMapOvr>
  <p:transition spd="slow">
    <p:push dir="u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Front cov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" y="-403"/>
            <a:ext cx="12191287" cy="6858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688682"/>
      </p:ext>
    </p:extLst>
  </p:cSld>
  <p:clrMapOvr>
    <a:masterClrMapping/>
  </p:clrMapOvr>
  <p:transition spd="slow">
    <p:push dir="u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465139"/>
            <a:ext cx="109728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462088"/>
            <a:ext cx="10972800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560" y="250825"/>
            <a:ext cx="5730240" cy="153888"/>
          </a:xfrm>
        </p:spPr>
        <p:txBody>
          <a:bodyPr rIns="0" bIns="0" anchor="ctr" anchorCtr="0">
            <a:noAutofit/>
          </a:bodyPr>
          <a:lstStyle>
            <a:lvl1pPr>
              <a:defRPr sz="7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3997103"/>
      </p:ext>
    </p:extLst>
  </p:cSld>
  <p:clrMapOvr>
    <a:masterClrMapping/>
  </p:clrMapOvr>
  <p:transition spd="slow">
    <p:push dir="u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+ Image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70560" y="3108960"/>
            <a:ext cx="10582656" cy="1645920"/>
          </a:xfrm>
        </p:spPr>
        <p:txBody>
          <a:bodyPr/>
          <a:lstStyle>
            <a:lvl1pPr algn="l">
              <a:lnSpc>
                <a:spcPct val="80000"/>
              </a:lnSpc>
              <a:defRPr sz="4400" b="0" cap="none" spc="9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172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70" y="6427473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prstClr val="white"/>
                </a:solidFill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7760"/>
            <a:ext cx="6461760" cy="640080"/>
          </a:xfrm>
        </p:spPr>
        <p:txBody>
          <a:bodyPr/>
          <a:lstStyle>
            <a:lvl1pPr>
              <a:defRPr sz="1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492" y="152402"/>
            <a:ext cx="1828800" cy="1495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808772"/>
      </p:ext>
    </p:extLst>
  </p:cSld>
  <p:clrMapOvr>
    <a:masterClrMapping/>
  </p:clrMapOvr>
  <p:transition spd="slow">
    <p:push dir="u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5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848424C-F169-4D02-9C2C-5C3D3DB69A56}" type="datetime1">
              <a:rPr lang="en-US" smtClean="0"/>
              <a:t>8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EC2CFB-C0B4-45A9-BE79-149F6DC51BE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523515"/>
      </p:ext>
    </p:extLst>
  </p:cSld>
  <p:clrMapOvr>
    <a:masterClrMapping/>
  </p:clrMapOvr>
  <p:transition spd="slow">
    <p:push dir="u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465139"/>
            <a:ext cx="10972800" cy="9144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560" y="250825"/>
            <a:ext cx="5730240" cy="153888"/>
          </a:xfrm>
        </p:spPr>
        <p:txBody>
          <a:bodyPr rIns="0" bIns="0" anchor="ctr" anchorCtr="0">
            <a:noAutofit/>
          </a:bodyPr>
          <a:lstStyle>
            <a:lvl1pPr>
              <a:defRPr sz="402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75053" y="6428232"/>
            <a:ext cx="390144" cy="283464"/>
          </a:xfr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20206"/>
      </p:ext>
    </p:extLst>
  </p:cSld>
  <p:clrMapOvr>
    <a:masterClrMapping/>
  </p:clrMapOvr>
  <p:transition spd="slow">
    <p:push dir="u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851694"/>
            <a:ext cx="10515600" cy="2387600"/>
          </a:xfrm>
        </p:spPr>
        <p:txBody>
          <a:bodyPr anchor="b">
            <a:noAutofit/>
          </a:bodyPr>
          <a:lstStyle>
            <a:lvl1pPr algn="ctr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331369"/>
            <a:ext cx="10515600" cy="1655762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761A1C-7C20-BC0E-2F04-0496293FA6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4987133"/>
            <a:ext cx="12192000" cy="193903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D2F7C0-E654-F5A4-6690-D96025DC3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67851" y="5698469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396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851694"/>
            <a:ext cx="10515600" cy="2387600"/>
          </a:xfrm>
        </p:spPr>
        <p:txBody>
          <a:bodyPr anchor="b">
            <a:noAutofit/>
          </a:bodyPr>
          <a:lstStyle>
            <a:lvl1pPr algn="ctr">
              <a:defRPr sz="3300" b="1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331369"/>
            <a:ext cx="10515600" cy="1655762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603B66F-3879-19E6-AE45-C56F7DBC1A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00551" y="5593556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7139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B7E30CC-D12F-44EC-82E7-DA4CA5CB7D8C}"/>
              </a:ext>
            </a:extLst>
          </p:cNvPr>
          <p:cNvSpPr/>
          <p:nvPr userDrawn="1"/>
        </p:nvSpPr>
        <p:spPr>
          <a:xfrm>
            <a:off x="1" y="0"/>
            <a:ext cx="562983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9712" y="851694"/>
            <a:ext cx="4953000" cy="2387600"/>
          </a:xfrm>
        </p:spPr>
        <p:txBody>
          <a:bodyPr anchor="b">
            <a:no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713" y="3331369"/>
            <a:ext cx="4791635" cy="1655762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36378E9-DDF5-4E55-FA35-6905E6C804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1" y="5509815"/>
            <a:ext cx="3390900" cy="8255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762DDE5-E12C-E49C-1978-7F412E3B532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2362200" y="2857746"/>
            <a:ext cx="6858000" cy="114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0039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Alterna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843" y="4847374"/>
            <a:ext cx="1781155" cy="193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056843"/>
      </p:ext>
    </p:extLst>
  </p:cSld>
  <p:clrMapOvr>
    <a:masterClrMapping/>
  </p:clrMapOvr>
  <p:transition spd="slow">
    <p:push dir="u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B7E30CC-D12F-44EC-82E7-DA4CA5CB7D8C}"/>
              </a:ext>
            </a:extLst>
          </p:cNvPr>
          <p:cNvSpPr/>
          <p:nvPr userDrawn="1"/>
        </p:nvSpPr>
        <p:spPr>
          <a:xfrm>
            <a:off x="1" y="0"/>
            <a:ext cx="562983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9712" y="851694"/>
            <a:ext cx="4953000" cy="2387600"/>
          </a:xfrm>
        </p:spPr>
        <p:txBody>
          <a:bodyPr anchor="b">
            <a:no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713" y="3331369"/>
            <a:ext cx="4791635" cy="1655762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41A1D3F-9B76-CDD4-F9D5-C9210188C0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5509815"/>
            <a:ext cx="3429000" cy="8509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768FF5DC-6AD0-EB8F-8BE2-C49A420DD3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2362200" y="2857746"/>
            <a:ext cx="6858000" cy="114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2921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een, plant, colorful, decorated&#10;&#10;Description automatically generated">
            <a:extLst>
              <a:ext uri="{FF2B5EF4-FFF2-40B4-BE49-F238E27FC236}">
                <a16:creationId xmlns:a16="http://schemas.microsoft.com/office/drawing/2014/main" id="{F6BEBBBD-3E0A-1D35-E52E-D64BEE8160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280" y="376972"/>
            <a:ext cx="11521440" cy="61040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000" y="718811"/>
            <a:ext cx="5562600" cy="751819"/>
          </a:xfrm>
        </p:spPr>
        <p:txBody>
          <a:bodyPr anchor="t">
            <a:normAutofit/>
          </a:bodyPr>
          <a:lstStyle>
            <a:lvl1pPr algn="l">
              <a:defRPr sz="3000" b="1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826E654-409B-1608-174E-CB6BA947FB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5000" y="5237491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5824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green, plant, decorated, colorful&#10;&#10;Description automatically generated">
            <a:extLst>
              <a:ext uri="{FF2B5EF4-FFF2-40B4-BE49-F238E27FC236}">
                <a16:creationId xmlns:a16="http://schemas.microsoft.com/office/drawing/2014/main" id="{9B89D87B-36CA-5D38-A52B-9B86BD4A6B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955" y="377170"/>
            <a:ext cx="11518091" cy="61036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940" y="746783"/>
            <a:ext cx="5562600" cy="751819"/>
          </a:xfrm>
        </p:spPr>
        <p:txBody>
          <a:bodyPr anchor="t">
            <a:normAutofit/>
          </a:bodyPr>
          <a:lstStyle>
            <a:lvl1pPr algn="l">
              <a:defRPr sz="3000" b="1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826E654-409B-1608-174E-CB6BA947FB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2940" y="5298419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5519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colorful, decorated&#10;&#10;Description automatically generated">
            <a:extLst>
              <a:ext uri="{FF2B5EF4-FFF2-40B4-BE49-F238E27FC236}">
                <a16:creationId xmlns:a16="http://schemas.microsoft.com/office/drawing/2014/main" id="{A9D9EA07-F350-03AB-854A-0A7D83DFD9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335280" y="297427"/>
            <a:ext cx="11521440" cy="486236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D13A2128-AB26-0C3C-DA00-9310B0A47D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5280" y="4340647"/>
            <a:ext cx="11521440" cy="18323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4545" y="5858241"/>
            <a:ext cx="5335155" cy="702332"/>
          </a:xfrm>
        </p:spPr>
        <p:txBody>
          <a:bodyPr anchor="ctr">
            <a:noAutofit/>
          </a:bodyPr>
          <a:lstStyle>
            <a:lvl1pPr algn="r">
              <a:defRPr sz="3000" b="1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AB0AB06-0A78-C5EC-7B70-3D50898A840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2299" y="5547329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6727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green, plant, colorful, decorated&#10;&#10;Description automatically generated">
            <a:extLst>
              <a:ext uri="{FF2B5EF4-FFF2-40B4-BE49-F238E27FC236}">
                <a16:creationId xmlns:a16="http://schemas.microsoft.com/office/drawing/2014/main" id="{4B0F5686-B1A4-5E8C-97F0-DBC5CC9B32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315" y="452885"/>
            <a:ext cx="11391172" cy="36420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807" y="5772336"/>
            <a:ext cx="5335155" cy="702332"/>
          </a:xfrm>
        </p:spPr>
        <p:txBody>
          <a:bodyPr anchor="b">
            <a:noAutofit/>
          </a:bodyPr>
          <a:lstStyle>
            <a:lvl1pPr algn="l">
              <a:defRPr sz="3000" b="1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67E6198-A71B-7B09-55B3-95FF6068EA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9608" y="2555073"/>
            <a:ext cx="11510587" cy="1830660"/>
          </a:xfrm>
          <a:prstGeom prst="rect">
            <a:avLst/>
          </a:prstGeom>
        </p:spPr>
      </p:pic>
      <p:pic>
        <p:nvPicPr>
          <p:cNvPr id="8" name="Picture 7" descr="A close-up of a sign&#10;&#10;Description automatically generated with low confidence">
            <a:extLst>
              <a:ext uri="{FF2B5EF4-FFF2-40B4-BE49-F238E27FC236}">
                <a16:creationId xmlns:a16="http://schemas.microsoft.com/office/drawing/2014/main" id="{E803D332-B80F-ABC6-CD66-2A0B30E5311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3439" y="5567129"/>
            <a:ext cx="2877048" cy="702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5637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7915E92-018A-36DE-9085-F56EB4628F89}"/>
              </a:ext>
            </a:extLst>
          </p:cNvPr>
          <p:cNvSpPr txBox="1">
            <a:spLocks/>
          </p:cNvSpPr>
          <p:nvPr userDrawn="1"/>
        </p:nvSpPr>
        <p:spPr>
          <a:xfrm>
            <a:off x="831851" y="4224339"/>
            <a:ext cx="2921284" cy="58303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srgbClr val="9FCB7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ttribut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606E15-F047-74F4-EDD6-46CAEE05BA03}"/>
              </a:ext>
            </a:extLst>
          </p:cNvPr>
          <p:cNvSpPr txBox="1"/>
          <p:nvPr userDrawn="1"/>
        </p:nvSpPr>
        <p:spPr>
          <a:xfrm>
            <a:off x="838200" y="2754746"/>
            <a:ext cx="9958755" cy="133882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Quote or pullout phrase: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nienihil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llibu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lore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ritii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t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ffictate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psaper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perepel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et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ilitecti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at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ped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nt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mqu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catur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busa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lores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rem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aru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con. </a:t>
            </a:r>
          </a:p>
        </p:txBody>
      </p:sp>
    </p:spTree>
    <p:extLst>
      <p:ext uri="{BB962C8B-B14F-4D97-AF65-F5344CB8AC3E}">
        <p14:creationId xmlns:p14="http://schemas.microsoft.com/office/powerpoint/2010/main" val="4583719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6140"/>
                </a:solidFill>
              </a:rPr>
              <a:t>THE CLARA ABBOTT FOUNDATION</a:t>
            </a:r>
            <a:endParaRPr lang="en-US" dirty="0">
              <a:solidFill>
                <a:srgbClr val="00614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006140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61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2793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E5F46412-918F-4298-2723-D85C730AF6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42970"/>
          <a:stretch/>
        </p:blipFill>
        <p:spPr>
          <a:xfrm flipH="1">
            <a:off x="-19051" y="5750444"/>
            <a:ext cx="12211051" cy="1107556"/>
          </a:xfrm>
          <a:prstGeom prst="rect">
            <a:avLst/>
          </a:prstGeom>
        </p:spPr>
      </p:pic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BE16F728-9C47-2834-B806-6C892566C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5B9FADD4-3FEC-06B0-7A83-70AECA26FA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5248F8E2-F383-9A9C-E81E-57DD23322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020FFFD-E099-3C38-D045-416AEDDD55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788294"/>
          </a:xfrm>
        </p:spPr>
        <p:txBody>
          <a:bodyPr>
            <a:noAutofit/>
          </a:bodyPr>
          <a:lstStyle>
            <a:lvl1pPr>
              <a:lnSpc>
                <a:spcPts val="1800"/>
              </a:lnSpc>
              <a:defRPr/>
            </a:lvl1pPr>
            <a:lvl2pPr>
              <a:lnSpc>
                <a:spcPts val="1800"/>
              </a:lnSpc>
              <a:defRPr/>
            </a:lvl2pPr>
            <a:lvl3pPr>
              <a:lnSpc>
                <a:spcPts val="1800"/>
              </a:lnSpc>
              <a:defRPr/>
            </a:lvl3pPr>
            <a:lvl4pPr>
              <a:lnSpc>
                <a:spcPts val="1800"/>
              </a:lnSpc>
              <a:defRPr/>
            </a:lvl4pPr>
            <a:lvl5pPr>
              <a:lnSpc>
                <a:spcPts val="18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6848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43559-0C6E-FADB-40E3-471FF6166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6088495" cy="2852737"/>
          </a:xfrm>
        </p:spPr>
        <p:txBody>
          <a:bodyPr anchor="b">
            <a:noAutofit/>
          </a:bodyPr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367E6E-1957-0383-CB34-0B71B8B43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6088495" cy="1500187"/>
          </a:xfr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90DA6A-90A2-682B-CCA1-4D6DECE81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7AF5E-43A5-5836-2329-AB577FDDA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69123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43559-0C6E-FADB-40E3-471FF6166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6088495" cy="2852737"/>
          </a:xfrm>
        </p:spPr>
        <p:txBody>
          <a:bodyPr anchor="b">
            <a:noAutofit/>
          </a:bodyPr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367E6E-1957-0383-CB34-0B71B8B43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6088495" cy="1500187"/>
          </a:xfr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90DA6A-90A2-682B-CCA1-4D6DECE81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FCB72"/>
                </a:solidFill>
              </a:rPr>
              <a:t>THE CLARA ABBOTT FOUNDATION</a:t>
            </a:r>
            <a:endParaRPr lang="en-US" dirty="0">
              <a:solidFill>
                <a:srgbClr val="9FCB7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7AF5E-43A5-5836-2329-AB577FDDA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FCB72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9FCB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415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750483"/>
            <a:ext cx="10972800" cy="446648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D9757-D68B-4C79-BEFD-2D6B73BE9549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926035185"/>
      </p:ext>
    </p:extLst>
  </p:cSld>
  <p:clrMapOvr>
    <a:masterClrMapping/>
  </p:clrMapOvr>
  <p:transition spd="slow">
    <p:push dir="u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C40B83-BEBD-CB36-3FA4-7792E6968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429002"/>
            <a:ext cx="12192000" cy="504679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7369301-FFCC-6218-AF0A-1F9A75F424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538959"/>
            <a:ext cx="6026151" cy="2852737"/>
          </a:xfrm>
        </p:spPr>
        <p:txBody>
          <a:bodyPr anchor="b"/>
          <a:lstStyle>
            <a:lvl1pPr>
              <a:defRPr sz="4500" baseline="0"/>
            </a:lvl1pPr>
          </a:lstStyle>
          <a:p>
            <a:endParaRPr lang="en-US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498CF43-7746-91AD-B6A8-D0EFDB57C5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2" y="4589465"/>
            <a:ext cx="3246989" cy="77491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ubhead here</a:t>
            </a:r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452DBC53-EAF4-A25F-B1E6-C25F21648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11D85041-AD37-2F7F-C1EE-3741157746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5734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CE794C8-29A4-E10E-9FA7-AD1D5B7237C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94552B-C541-F96F-0BAE-B21703D0DD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63BD7E-3B53-0B77-94D6-64B6157CA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BA5D293-F913-B51C-A95D-8B0DD7454D3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9" y="2057400"/>
            <a:ext cx="4482839" cy="3811588"/>
          </a:xfrm>
        </p:spPr>
        <p:txBody>
          <a:bodyPr>
            <a:noAutofit/>
          </a:bodyPr>
          <a:lstStyle>
            <a:lvl1pPr>
              <a:defRPr sz="1350" baseline="0"/>
            </a:lvl1pPr>
          </a:lstStyle>
          <a:p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Venienihil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ll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e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oriti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est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offictate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pe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perepel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et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ilitect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nat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ped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un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remqu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necatu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?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bus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es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rem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haru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con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ossi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nim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ro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u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qu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au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re sitio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te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mi,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au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is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nvenim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rer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corumquid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olupta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. </a:t>
            </a:r>
          </a:p>
          <a:p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Ota vent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faccaturi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fugiasp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ediss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aio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eb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mil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agniaspeli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uptatu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imuscill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, site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er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consequat</a:t>
            </a:r>
            <a:endParaRPr lang="en-US" dirty="0">
              <a:solidFill>
                <a:schemeClr val="bg1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0F260E-2FAC-3BD5-8CE5-B335966BDD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488158"/>
            <a:ext cx="4482839" cy="1325563"/>
          </a:xfrm>
        </p:spPr>
        <p:txBody>
          <a:bodyPr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35050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5F6D-AC75-AA14-7B70-C6AF165C1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F58C8F-D5B5-2CC5-AC14-97488CFCCE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3803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5F6D-AC75-AA14-7B70-C6AF165C1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F58C8F-D5B5-2CC5-AC14-97488CFCCE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838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AD063-30EE-BEA2-DCA9-A72406ED0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A9C2B7-4C09-316A-2A49-1319157403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C542E7-7F0A-D64D-2CCB-595E1A73C6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9CD0BF-6254-DC0F-DC23-29C938C495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6E97F0-65EE-10B5-3F5D-26F9D65C8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1FCB51B-149E-BF38-1D02-F17A91C256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99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CEBCE-D5D5-9977-100C-52DE2FA50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88ECBE-5036-FB67-42BA-247059A72B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>
            <a:noAutofit/>
          </a:bodyPr>
          <a:lstStyle>
            <a:lvl1pPr marL="0" indent="0">
              <a:buNone/>
              <a:defRPr sz="21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C0E8C7-7001-5305-0829-9D67E5DD94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70A3F5-CFEE-3EC0-FD7D-A6BB377CF2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>
            <a:noAutofit/>
          </a:bodyPr>
          <a:lstStyle>
            <a:lvl1pPr marL="0" indent="0">
              <a:buNone/>
              <a:defRPr sz="21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63F169-692B-E22E-739C-7098D58A1B6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4E068D-623E-25D2-236B-53FC504F5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64AEEE-8045-EC81-8C28-3BFFA748A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3EFB0E-B69F-66C3-87D0-6FFDB06EA1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3458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CEBCE-D5D5-9977-100C-52DE2FA50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88ECBE-5036-FB67-42BA-247059A72B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1637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C0E8C7-7001-5305-0829-9D67E5DD94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1637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4E068D-623E-25D2-236B-53FC504F5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64AEEE-8045-EC81-8C28-3BFFA748A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046F806-7E03-451A-2184-E622208F685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1529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04DB1D29-E44F-16F2-5D8A-A0B50B06BDDB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71529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F437C77-49BB-327C-0E3E-63069510B60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031421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9371D538-6EAB-E9C4-2D37-46B80661C90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31421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F667251-9507-85ED-00EC-C6FD25B779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9226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ED3E2-EF5F-C1EE-58AF-0F0181FD4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B25FEF-1002-5A5E-CEA0-91F0ADECFC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9E5F4B-4B6F-968E-EAB5-AFB02360D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9AB58D-B0CB-07C7-77FF-C909220E68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5649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83101F8-7BC4-49ED-B461-9F294BC6D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6975" y="2526984"/>
            <a:ext cx="4718051" cy="1133475"/>
          </a:xfrm>
        </p:spPr>
        <p:txBody>
          <a:bodyPr anchor="b">
            <a:noAutofit/>
          </a:bodyPr>
          <a:lstStyle>
            <a:lvl1pPr algn="ctr">
              <a:defRPr sz="45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C1A4D67-9F0C-C523-BAF8-9A724BE1BB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81500" y="5492230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99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CALIBRI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462088"/>
            <a:ext cx="10972800" cy="4754880"/>
          </a:xfrm>
        </p:spPr>
        <p:txBody>
          <a:bodyPr/>
          <a:lstStyle>
            <a:lvl1pPr>
              <a:defRPr sz="1800" b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A3C22-03BB-48FC-AAB6-D5E29661D762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542054243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463040"/>
            <a:ext cx="10477373" cy="4754880"/>
          </a:xfrm>
        </p:spPr>
        <p:txBody>
          <a:bodyPr/>
          <a:lstStyle>
            <a:lvl1pPr>
              <a:spcBef>
                <a:spcPts val="1800"/>
              </a:spcBef>
              <a:defRPr sz="1800" b="0">
                <a:solidFill>
                  <a:schemeClr val="tx1"/>
                </a:solidFill>
                <a:latin typeface="+mn-lt"/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BC05-FE77-4B78-BDB6-2488AE7FE548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65084008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750483"/>
            <a:ext cx="5303520" cy="4467436"/>
          </a:xfrm>
        </p:spPr>
        <p:txBody>
          <a:bodyPr/>
          <a:lstStyle>
            <a:lvl1pPr>
              <a:spcBef>
                <a:spcPts val="600"/>
              </a:spcBef>
              <a:defRPr sz="1800" b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1750483"/>
            <a:ext cx="5303520" cy="4467436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9C85-4956-4A14-B7F2-0D9F2635B5EA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88760277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3012018"/>
            <a:ext cx="5303520" cy="3205903"/>
          </a:xfrm>
        </p:spPr>
        <p:txBody>
          <a:bodyPr/>
          <a:lstStyle>
            <a:lvl1pPr>
              <a:spcBef>
                <a:spcPts val="600"/>
              </a:spcBef>
              <a:defRPr sz="16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3012018"/>
            <a:ext cx="5303520" cy="3205903"/>
          </a:xfrm>
        </p:spPr>
        <p:txBody>
          <a:bodyPr/>
          <a:lstStyle>
            <a:lvl1pPr>
              <a:spcBef>
                <a:spcPts val="600"/>
              </a:spcBef>
              <a:defRPr lang="en-US" sz="1600" b="1" kern="120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75BBC-D02F-4BD4-B6C2-39D1DE01986A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0560" y="1463040"/>
            <a:ext cx="10972800" cy="1097280"/>
          </a:xfrm>
        </p:spPr>
        <p:txBody>
          <a:bodyPr/>
          <a:lstStyle>
            <a:lvl1pPr>
              <a:defRPr sz="2000" b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070949250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9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0560" y="365760"/>
            <a:ext cx="10972800" cy="914400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0560" y="1750483"/>
            <a:ext cx="10972800" cy="4467436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2F35C2B-094B-4CED-8AB2-5BB94B9F63F3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5053" y="6428232"/>
            <a:ext cx="390144" cy="283464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0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2718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4" r:id="rId33"/>
    <p:sldLayoutId id="2147483695" r:id="rId34"/>
    <p:sldLayoutId id="2147483696" r:id="rId35"/>
    <p:sldLayoutId id="2147483697" r:id="rId36"/>
  </p:sldLayoutIdLst>
  <p:transition spd="slow">
    <p:push dir="u"/>
  </p:transition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cap="none" spc="0" baseline="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b="1" kern="1200">
          <a:solidFill>
            <a:schemeClr val="accent5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1698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0376EA-3C54-591E-52E7-8B4DA6DCC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18BCB3-9D88-5587-ED2C-AC17FED331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759271-2CF4-C1EC-47BE-A62DFCCE08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6367AE-8C9B-920C-991F-D4D35D0F3C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17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 baseline="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</p:titleStyle>
    <p:bodyStyle>
      <a:lvl1pPr marL="171450" indent="-171450" algn="l" defTabSz="685800" rtl="0" eaLnBrk="1" latinLnBrk="0" hangingPunct="1">
        <a:lnSpc>
          <a:spcPts val="18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  <a:lvl2pPr marL="5143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2pPr>
      <a:lvl3pPr marL="8572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3pPr>
      <a:lvl4pPr marL="12001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4pPr>
      <a:lvl5pPr marL="15430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png"/><Relationship Id="rId7" Type="http://schemas.openxmlformats.org/officeDocument/2006/relationships/image" Target="../media/image10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9.png"/><Relationship Id="rId5" Type="http://schemas.openxmlformats.org/officeDocument/2006/relationships/image" Target="../media/image28.emf"/><Relationship Id="rId4" Type="http://schemas.openxmlformats.org/officeDocument/2006/relationships/image" Target="../media/image2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29.png"/><Relationship Id="rId4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D69511A2-EBC4-CFC3-A2F5-126B897B8180}"/>
              </a:ext>
            </a:extLst>
          </p:cNvPr>
          <p:cNvSpPr txBox="1"/>
          <p:nvPr/>
        </p:nvSpPr>
        <p:spPr>
          <a:xfrm>
            <a:off x="868680" y="2424868"/>
            <a:ext cx="8061960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ms" sz="1800" b="0" i="0" u="none" strike="noStrike" baseline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ujud semata-mata untuk pekerja semasa Abbott, pesara, pasangan dan anak tanggungan</a:t>
            </a: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ms" sz="1800" b="0" i="0" u="none" strike="noStrike" baseline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tubuhkan pada tahun 1940 sebagai penghormatan terhadap warisan wasiat Clara Abbott (isteri pengasas Abbott)</a:t>
            </a: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ms" sz="1800" b="0" i="0" u="none" strike="noStrike" baseline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idak dibiayai atau diuruskan oleh Abbott; Organisasi bukan untung yang berasingan</a:t>
            </a: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ms" sz="1800" b="0" i="0" u="none" strike="noStrike" baseline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nyediakan sokongan kewangan kepada keluarga Abbott di seluruh dunia </a:t>
            </a:r>
            <a:endParaRPr lang="ms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ms" sz="1800" b="0" i="0" u="none" strike="noStrike" baseline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UKAN faedah atau hak Abbott</a:t>
            </a:r>
            <a:endParaRPr lang="ms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0D50A23-ACDF-DA9D-DCA7-24AD80563E1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42970"/>
          <a:stretch/>
        </p:blipFill>
        <p:spPr>
          <a:xfrm flipH="1">
            <a:off x="-19050" y="5733200"/>
            <a:ext cx="12211050" cy="1107556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D9F477-20DC-4194-A0EA-BE206FC9C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4363" y="6387859"/>
            <a:ext cx="4114800" cy="365125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ms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CLARA ABBOTT FOUN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4AA585-FE03-494F-A210-6CAC88F5E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07C2A4-2B12-DD43-9FFD-B5FF90832F5B}" type="slidenum">
              <a:rPr kumimoji="0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ms" sz="900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0FB4E8-F442-B1B3-37D0-8191DD415BD5}"/>
              </a:ext>
            </a:extLst>
          </p:cNvPr>
          <p:cNvSpPr txBox="1"/>
          <p:nvPr/>
        </p:nvSpPr>
        <p:spPr>
          <a:xfrm>
            <a:off x="939800" y="1542811"/>
            <a:ext cx="8098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ms" b="0" i="0" u="none" baseline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rganisasi bukan untung yang berdedikasi untuk membantu keluarga Abbott melalui kesusahan kewangan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451251C-DBD5-6FEE-B3B0-BED1F09425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32240" y="1649269"/>
            <a:ext cx="2950251" cy="28505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25F64770-C98B-868B-E8D8-22D71E3C2F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98510" y="4772267"/>
            <a:ext cx="3390900" cy="825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6CA1CB9-10FC-4F38-1B90-59239C056A7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8879677-3B0E-2143-F1B1-866365603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/>
          <a:lstStyle/>
          <a:p>
            <a:pPr algn="l" rtl="0"/>
            <a:r>
              <a:rPr lang="ms" sz="4000" b="0" i="0" u="none" baseline="0">
                <a:solidFill>
                  <a:srgbClr val="006140"/>
                </a:solidFill>
                <a:sym typeface="Arial" panose="020B0604020202020204" pitchFamily="34" charset="0"/>
              </a:rPr>
              <a:t>The Clara Abbott Foundation</a:t>
            </a:r>
            <a:endParaRPr lang="ms" sz="4000" b="0" dirty="0">
              <a:solidFill>
                <a:srgbClr val="0061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5167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468CE11-A647-27BF-5EAF-056B9588CB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42970"/>
          <a:stretch/>
        </p:blipFill>
        <p:spPr>
          <a:xfrm flipH="1">
            <a:off x="-19050" y="5733200"/>
            <a:ext cx="12211050" cy="11075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63FB8A2-CDBB-42E0-9930-F8FB0752F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ms" sz="4000" b="0" i="0" u="none" baseline="0">
                <a:solidFill>
                  <a:srgbClr val="006140"/>
                </a:solidFill>
                <a:sym typeface="Arial" panose="020B0604020202020204" pitchFamily="34" charset="0"/>
              </a:rPr>
              <a:t>Perkhidmatan Foundation</a:t>
            </a:r>
            <a:endParaRPr lang="ms" sz="4000" b="0" dirty="0">
              <a:solidFill>
                <a:srgbClr val="006140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32E770-8D0C-45CD-9AE3-889FB969E3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ms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CLARA ABBOTT FOUND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2C8190-1DB4-400B-AD33-4B0859D7F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07C2A4-2B12-DD43-9FFD-B5FF90832F5B}" type="slidenum">
              <a:rPr kumimoji="0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ms" sz="900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2" name="Picture 11" descr="Una imagen con texto, barrilete&#10;&#10;Descripción generada automáticamente">
            <a:extLst>
              <a:ext uri="{FF2B5EF4-FFF2-40B4-BE49-F238E27FC236}">
                <a16:creationId xmlns:a16="http://schemas.microsoft.com/office/drawing/2014/main" id="{4CA6C0AA-24B4-4568-A866-3298AC9C1BA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0026093" y="3341776"/>
            <a:ext cx="1812134" cy="350193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5F41A3F-6D54-2233-7C9B-786C293562C1}"/>
              </a:ext>
            </a:extLst>
          </p:cNvPr>
          <p:cNvSpPr txBox="1"/>
          <p:nvPr/>
        </p:nvSpPr>
        <p:spPr>
          <a:xfrm>
            <a:off x="1061837" y="4888005"/>
            <a:ext cx="39959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ms" sz="1200" b="0" i="1" u="none" strike="noStrike" kern="1200" cap="none" spc="0" normalizeH="0" baseline="0">
                <a:ln>
                  <a:noFill/>
                </a:ln>
                <a:solidFill>
                  <a:srgbClr val="100E0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Kontraktor tidak layak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92C1B1B-EE71-496D-A13A-DEFE6295B83D}"/>
              </a:ext>
            </a:extLst>
          </p:cNvPr>
          <p:cNvSpPr txBox="1">
            <a:spLocks/>
          </p:cNvSpPr>
          <p:nvPr/>
        </p:nvSpPr>
        <p:spPr>
          <a:xfrm>
            <a:off x="839505" y="2136944"/>
            <a:ext cx="3032873" cy="11185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kern="1200">
                <a:solidFill>
                  <a:srgbClr val="52B08B"/>
                </a:solidFill>
                <a:latin typeface="+mn-lt"/>
                <a:ea typeface="+mn-ea"/>
                <a:cs typeface="+mn-cs"/>
              </a:defRPr>
            </a:lvl1pPr>
            <a:lvl2pPr marL="346075" indent="-346075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84163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8416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tabLst>
                <a:tab pos="2916238" algn="l"/>
              </a:tabLst>
              <a:defRPr/>
            </a:pPr>
            <a:r>
              <a:rPr lang="ms" sz="1800" b="0" i="0" u="none" baseline="0" dirty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ran Bantuan Kewangan</a:t>
            </a:r>
          </a:p>
          <a:p>
            <a:pPr algn="ctr" rtl="0">
              <a:spcBef>
                <a:spcPts val="600"/>
              </a:spcBef>
              <a:tabLst>
                <a:tab pos="2916238" algn="l"/>
              </a:tabLst>
              <a:defRPr/>
            </a:pPr>
            <a:r>
              <a:rPr lang="ms" sz="1400" b="0" i="0" u="none" baseline="0" dirty="0">
                <a:solidFill>
                  <a:srgbClr val="100E0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ran jangka pendek untuk membantu keluarga Abbott yang bergelut untuk memenuhi keperluan asas mereka</a:t>
            </a:r>
            <a:endParaRPr lang="ms" sz="1400" dirty="0">
              <a:solidFill>
                <a:srgbClr val="73A93D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75C17C5-88DB-BE2E-6F76-C1603E59CB37}"/>
              </a:ext>
            </a:extLst>
          </p:cNvPr>
          <p:cNvSpPr txBox="1">
            <a:spLocks/>
          </p:cNvSpPr>
          <p:nvPr/>
        </p:nvSpPr>
        <p:spPr>
          <a:xfrm>
            <a:off x="8037872" y="2136944"/>
            <a:ext cx="3384676" cy="10201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kern="1200">
                <a:solidFill>
                  <a:srgbClr val="52B08B"/>
                </a:solidFill>
                <a:latin typeface="+mn-lt"/>
                <a:ea typeface="+mn-ea"/>
                <a:cs typeface="+mn-cs"/>
              </a:defRPr>
            </a:lvl1pPr>
            <a:lvl2pPr marL="346075" indent="-346075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84163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8416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tabLst>
                <a:tab pos="2916238" algn="l"/>
              </a:tabLst>
              <a:defRPr/>
            </a:pPr>
            <a:r>
              <a:rPr lang="ms" sz="1800" b="0" i="0" u="none" baseline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asiswa Peringkat Universiti</a:t>
            </a:r>
          </a:p>
          <a:p>
            <a:pPr algn="ctr" rtl="0" fontAlgn="auto">
              <a:spcBef>
                <a:spcPts val="600"/>
              </a:spcBef>
              <a:spcAft>
                <a:spcPts val="0"/>
              </a:spcAft>
              <a:tabLst>
                <a:tab pos="2916238" algn="l"/>
              </a:tabLst>
            </a:pPr>
            <a:r>
              <a:rPr lang="ms" sz="1400" b="0" i="0" u="none" baseline="0">
                <a:solidFill>
                  <a:srgbClr val="100E0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ntuan kewangan untuk membantu anak-anak pekerja Abbott dengan perbelanjaan pendidikan kolej/lanjutan menengah</a:t>
            </a:r>
            <a:endParaRPr lang="ms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l" rtl="0">
              <a:defRPr/>
            </a:pPr>
            <a:endParaRPr lang="ms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l" rtl="0">
              <a:defRPr/>
            </a:pPr>
            <a:endParaRPr lang="ms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CD2F6B-BCEB-FC62-296D-624289A08A66}"/>
              </a:ext>
            </a:extLst>
          </p:cNvPr>
          <p:cNvSpPr txBox="1"/>
          <p:nvPr/>
        </p:nvSpPr>
        <p:spPr>
          <a:xfrm>
            <a:off x="4421689" y="2136944"/>
            <a:ext cx="3075936" cy="1369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>
              <a:tabLst>
                <a:tab pos="2916238" algn="l"/>
              </a:tabLst>
              <a:defRPr/>
            </a:pPr>
            <a:r>
              <a:rPr lang="ms" b="0" i="0" u="none" baseline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ran Bencana Kecemasan</a:t>
            </a:r>
          </a:p>
          <a:p>
            <a:pPr algn="ctr" rtl="0">
              <a:spcBef>
                <a:spcPts val="600"/>
              </a:spcBef>
              <a:tabLst>
                <a:tab pos="2916238" algn="l"/>
              </a:tabLst>
              <a:defRPr/>
            </a:pPr>
            <a:r>
              <a:rPr lang="ms" sz="1400" b="0" i="0" u="none" baseline="0">
                <a:solidFill>
                  <a:srgbClr val="100E0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ntuan kecemasan sekiranya berlaku bencana untuk memastikan akses kepada makanan, pakaian dan tempat tinggal</a:t>
            </a:r>
          </a:p>
          <a:p>
            <a:endParaRPr lang="m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54A3E86-AF71-3AC7-E124-8246C19FE13D}"/>
              </a:ext>
            </a:extLst>
          </p:cNvPr>
          <p:cNvCxnSpPr/>
          <p:nvPr/>
        </p:nvCxnSpPr>
        <p:spPr>
          <a:xfrm>
            <a:off x="4095156" y="2222640"/>
            <a:ext cx="0" cy="9344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2735A8D-1026-DECE-3677-274E484B7BEA}"/>
              </a:ext>
            </a:extLst>
          </p:cNvPr>
          <p:cNvCxnSpPr/>
          <p:nvPr/>
        </p:nvCxnSpPr>
        <p:spPr>
          <a:xfrm>
            <a:off x="7798568" y="2245829"/>
            <a:ext cx="0" cy="9344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222691D-0304-5029-940D-3D6604646404}"/>
              </a:ext>
            </a:extLst>
          </p:cNvPr>
          <p:cNvSpPr txBox="1">
            <a:spLocks/>
          </p:cNvSpPr>
          <p:nvPr/>
        </p:nvSpPr>
        <p:spPr>
          <a:xfrm>
            <a:off x="924562" y="3452933"/>
            <a:ext cx="10007598" cy="62783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ts val="18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5143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8572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2001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5430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00000"/>
              </a:lnSpc>
              <a:spcBef>
                <a:spcPts val="600"/>
              </a:spcBef>
              <a:buNone/>
            </a:pPr>
            <a:r>
              <a:rPr lang="ms" sz="1800" b="0" i="0" u="none" baseline="0" dirty="0">
                <a:solidFill>
                  <a:srgbClr val="EF5D5E"/>
                </a:solidFill>
              </a:rPr>
              <a:t>Kelayakan</a:t>
            </a:r>
          </a:p>
          <a:p>
            <a:pPr algn="l" rtl="0">
              <a:lnSpc>
                <a:spcPct val="100000"/>
              </a:lnSpc>
              <a:spcBef>
                <a:spcPts val="600"/>
              </a:spcBef>
            </a:pPr>
            <a:r>
              <a:rPr lang="ms" sz="1600" b="0" i="0" u="none" baseline="0" dirty="0">
                <a:solidFill>
                  <a:srgbClr val="000000"/>
                </a:solidFill>
              </a:rPr>
              <a:t>Pekerja semasa yang mempunyai sekurang-kurangnya satu tahun perkhidmatan Abbott yang berterusan adalah layak; dan </a:t>
            </a:r>
          </a:p>
          <a:p>
            <a:pPr algn="l" rtl="0">
              <a:lnSpc>
                <a:spcPct val="100000"/>
              </a:lnSpc>
              <a:spcBef>
                <a:spcPts val="600"/>
              </a:spcBef>
            </a:pPr>
            <a:r>
              <a:rPr lang="ms" sz="1600" b="0" i="0" u="none" baseline="0" dirty="0">
                <a:solidFill>
                  <a:srgbClr val="000000"/>
                </a:solidFill>
              </a:rPr>
              <a:t>Pekerja yang berumur sekurang-kurangnya 50 tahun dengan 10 tahun perkhidmatan Abbott secara berterusan pada hari terakhir mereka dengan syarikat mempunyai kelayakan seumur hidup </a:t>
            </a:r>
          </a:p>
          <a:p>
            <a:endParaRPr lang="ms" dirty="0"/>
          </a:p>
          <a:p>
            <a:pPr marL="0" indent="0">
              <a:buNone/>
            </a:pPr>
            <a:endParaRPr lang="m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3E8135B-0032-D8C0-2245-7C557610C2BF}"/>
              </a:ext>
            </a:extLst>
          </p:cNvPr>
          <p:cNvSpPr txBox="1"/>
          <p:nvPr/>
        </p:nvSpPr>
        <p:spPr>
          <a:xfrm>
            <a:off x="6441610" y="5270012"/>
            <a:ext cx="37156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ms" sz="2000" b="0" i="0" u="none" strike="noStrike" kern="1200" cap="none" spc="0" normalizeH="0" baseline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etahui lebih lanjut di </a:t>
            </a:r>
            <a:br>
              <a:rPr kumimoji="0" lang="ms" sz="2800" b="0" i="0" u="none" strike="noStrike" kern="1200" cap="none" spc="0" normalizeH="0" baseline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kumimoji="0" lang="ms" sz="3400" b="0" i="0" u="none" strike="noStrike" kern="1200" cap="none" spc="0" normalizeH="0" baseline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lara.abbott.co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948246-8FCC-4338-8286-135D2ACEC561}"/>
              </a:ext>
            </a:extLst>
          </p:cNvPr>
          <p:cNvSpPr txBox="1"/>
          <p:nvPr/>
        </p:nvSpPr>
        <p:spPr>
          <a:xfrm>
            <a:off x="1041546" y="1621714"/>
            <a:ext cx="98906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ms" b="0" i="0" u="none" baseline="0">
                <a:solidFill>
                  <a:srgbClr val="006241"/>
                </a:solidFill>
                <a:latin typeface="Georgia" panose="02040502050405020303" pitchFamily="18" charset="0"/>
                <a:ea typeface="Roboto" panose="02000000000000000000" pitchFamily="2" charset="0"/>
              </a:rPr>
              <a:t>Menyediakan bantuan kewangan berdasarkan keperluan kepada keluarga Abbott selama lebih dari 80 tahun</a:t>
            </a:r>
          </a:p>
        </p:txBody>
      </p:sp>
    </p:spTree>
    <p:extLst>
      <p:ext uri="{BB962C8B-B14F-4D97-AF65-F5344CB8AC3E}">
        <p14:creationId xmlns:p14="http://schemas.microsoft.com/office/powerpoint/2010/main" val="17373012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PPT Basic_White_v5_prophet_edit">
  <a:themeElements>
    <a:clrScheme name="Abbott Brand 2016">
      <a:dk1>
        <a:srgbClr val="000000"/>
      </a:dk1>
      <a:lt1>
        <a:sysClr val="window" lastClr="FFFFFF"/>
      </a:lt1>
      <a:dk2>
        <a:srgbClr val="004F71"/>
      </a:dk2>
      <a:lt2>
        <a:srgbClr val="D9D9D6"/>
      </a:lt2>
      <a:accent1>
        <a:srgbClr val="E4002B"/>
      </a:accent1>
      <a:accent2>
        <a:srgbClr val="470A68"/>
      </a:accent2>
      <a:accent3>
        <a:srgbClr val="64CCC9"/>
      </a:accent3>
      <a:accent4>
        <a:srgbClr val="FFD100"/>
      </a:accent4>
      <a:accent5>
        <a:srgbClr val="009CDE"/>
      </a:accent5>
      <a:accent6>
        <a:srgbClr val="00B140"/>
      </a:accent6>
      <a:hlink>
        <a:srgbClr val="009CDE"/>
      </a:hlink>
      <a:folHlink>
        <a:srgbClr val="63666A"/>
      </a:folHlink>
    </a:clrScheme>
    <a:fontScheme name="Custom 1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Georgia" panose="02040502050405020303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16x9_White_2016" id="{60AEE1A8-77C6-4D52-995B-CA44F3D7FA5F}" vid="{E4F1A8B0-0D9C-4468-AA65-039095662AFE}"/>
    </a:ext>
  </a:extLst>
</a:theme>
</file>

<file path=ppt/theme/theme2.xml><?xml version="1.0" encoding="utf-8"?>
<a:theme xmlns:a="http://schemas.openxmlformats.org/drawingml/2006/main" name="Office Theme">
  <a:themeElements>
    <a:clrScheme name="Custom 7">
      <a:dk1>
        <a:srgbClr val="006140"/>
      </a:dk1>
      <a:lt1>
        <a:srgbClr val="FFFFFF"/>
      </a:lt1>
      <a:dk2>
        <a:srgbClr val="9FCB72"/>
      </a:dk2>
      <a:lt2>
        <a:srgbClr val="919191"/>
      </a:lt2>
      <a:accent1>
        <a:srgbClr val="9FCB71"/>
      </a:accent1>
      <a:accent2>
        <a:srgbClr val="199BD9"/>
      </a:accent2>
      <a:accent3>
        <a:srgbClr val="EF5D5D"/>
      </a:accent3>
      <a:accent4>
        <a:srgbClr val="F3E160"/>
      </a:accent4>
      <a:accent5>
        <a:srgbClr val="7CD5E1"/>
      </a:accent5>
      <a:accent6>
        <a:srgbClr val="7C60AB"/>
      </a:accent6>
      <a:hlink>
        <a:srgbClr val="1B9BD9"/>
      </a:hlink>
      <a:folHlink>
        <a:srgbClr val="EE5D5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23</TotalTime>
  <Words>202</Words>
  <Application>Microsoft Office PowerPoint</Application>
  <PresentationFormat>Widescreen</PresentationFormat>
  <Paragraphs>26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Georgia</vt:lpstr>
      <vt:lpstr>Roboto</vt:lpstr>
      <vt:lpstr>10_PPT Basic_White_v5_prophet_edit</vt:lpstr>
      <vt:lpstr>Office Theme</vt:lpstr>
      <vt:lpstr>think-cell Slide</vt:lpstr>
      <vt:lpstr>The Clara Abbott Foundation</vt:lpstr>
      <vt:lpstr>Perkhidmatan Found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urg_archive@burgtranslations.com</dc:creator>
  <cp:lastModifiedBy>Hopkins, Kristine M</cp:lastModifiedBy>
  <cp:revision>15</cp:revision>
  <dcterms:created xsi:type="dcterms:W3CDTF">2023-06-16T05:27:17Z</dcterms:created>
  <dcterms:modified xsi:type="dcterms:W3CDTF">2023-08-14T19:33:37Z</dcterms:modified>
</cp:coreProperties>
</file>